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302" r:id="rId5"/>
    <p:sldId id="281" r:id="rId6"/>
    <p:sldId id="294" r:id="rId7"/>
    <p:sldId id="304" r:id="rId8"/>
    <p:sldId id="299" r:id="rId9"/>
    <p:sldId id="301" r:id="rId10"/>
    <p:sldId id="305" r:id="rId11"/>
    <p:sldId id="308" r:id="rId12"/>
    <p:sldId id="309" r:id="rId13"/>
    <p:sldId id="303" r:id="rId14"/>
    <p:sldId id="306" r:id="rId15"/>
    <p:sldId id="310" r:id="rId16"/>
    <p:sldId id="312" r:id="rId17"/>
    <p:sldId id="311" r:id="rId18"/>
    <p:sldId id="313" r:id="rId19"/>
    <p:sldId id="300" r:id="rId20"/>
    <p:sldId id="314" r:id="rId21"/>
    <p:sldId id="298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3523"/>
    <a:srgbClr val="DB8759"/>
    <a:srgbClr val="05043B"/>
    <a:srgbClr val="AB8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0" autoAdjust="0"/>
    <p:restoredTop sz="70581" autoAdjust="0"/>
  </p:normalViewPr>
  <p:slideViewPr>
    <p:cSldViewPr snapToGrid="0">
      <p:cViewPr>
        <p:scale>
          <a:sx n="75" d="100"/>
          <a:sy n="75" d="100"/>
        </p:scale>
        <p:origin x="1176" y="132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0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24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741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2594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1328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5B5B5B"/>
                </a:solidFill>
              </a:rPr>
              <a:t>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71E8370-A349-1373-8C97-33F9F080E4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202" y="1335569"/>
            <a:ext cx="5873211" cy="438160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7ED467F-0976-33FB-4EEA-2FFDE4672BA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0059"/>
          <a:stretch/>
        </p:blipFill>
        <p:spPr>
          <a:xfrm>
            <a:off x="6228678" y="1031684"/>
            <a:ext cx="5761420" cy="195307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99AB191-8911-C21C-3832-199352CFB768}"/>
              </a:ext>
            </a:extLst>
          </p:cNvPr>
          <p:cNvSpPr/>
          <p:nvPr/>
        </p:nvSpPr>
        <p:spPr>
          <a:xfrm>
            <a:off x="6568170" y="666342"/>
            <a:ext cx="2273643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nt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12C0A1C-854E-145B-8E3B-DC7DA65F5EB7}"/>
              </a:ext>
            </a:extLst>
          </p:cNvPr>
          <p:cNvSpPr/>
          <p:nvPr/>
        </p:nvSpPr>
        <p:spPr>
          <a:xfrm>
            <a:off x="9396686" y="670462"/>
            <a:ext cx="2273643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ring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4763146-5A2F-4F7D-48F9-EDDE760E1AC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0059"/>
          <a:stretch/>
        </p:blipFill>
        <p:spPr>
          <a:xfrm>
            <a:off x="6228678" y="3664201"/>
            <a:ext cx="5761420" cy="195307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617B791-B25C-D0DE-8877-FD1D571A4995}"/>
              </a:ext>
            </a:extLst>
          </p:cNvPr>
          <p:cNvSpPr/>
          <p:nvPr/>
        </p:nvSpPr>
        <p:spPr>
          <a:xfrm>
            <a:off x="6568170" y="3285346"/>
            <a:ext cx="2273643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um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02DEFE-52FA-640A-0B22-166722F332E6}"/>
              </a:ext>
            </a:extLst>
          </p:cNvPr>
          <p:cNvSpPr/>
          <p:nvPr/>
        </p:nvSpPr>
        <p:spPr>
          <a:xfrm>
            <a:off x="9396686" y="3289996"/>
            <a:ext cx="2273643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mmer</a:t>
            </a:r>
          </a:p>
        </p:txBody>
      </p:sp>
    </p:spTree>
    <p:extLst>
      <p:ext uri="{BB962C8B-B14F-4D97-AF65-F5344CB8AC3E}">
        <p14:creationId xmlns:p14="http://schemas.microsoft.com/office/powerpoint/2010/main" val="34425346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943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72D7FE-DA41-7151-B0A0-4F95FE2BE6B1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10253C-37AE-811A-72BE-037A71D94F2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7DBA6C-0E29-2AAD-7E16-4B6C382A89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There are higher occurrences of respiratory disorders in towns and cities with higher levels of polluti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F31A66-605A-1496-ECF2-D72FD923E90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4127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11900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06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CONCLUSION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SO WHAT ARE OUR THOUGHTS</a:t>
            </a:r>
          </a:p>
        </p:txBody>
      </p:sp>
    </p:spTree>
    <p:extLst>
      <p:ext uri="{BB962C8B-B14F-4D97-AF65-F5344CB8AC3E}">
        <p14:creationId xmlns:p14="http://schemas.microsoft.com/office/powerpoint/2010/main" val="31131009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6775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310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THE Proces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Data and </a:t>
            </a:r>
            <a:r>
              <a:rPr lang="en-US" dirty="0" err="1"/>
              <a:t>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OpenWeatherMap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PI NINJA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20444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1200329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r>
              <a:rPr lang="en-US" dirty="0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nalyse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54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LET’s HAVE SOME FUN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HYPOTHESES Q&amp;A</a:t>
            </a:r>
          </a:p>
        </p:txBody>
      </p:sp>
    </p:spTree>
    <p:extLst>
      <p:ext uri="{BB962C8B-B14F-4D97-AF65-F5344CB8AC3E}">
        <p14:creationId xmlns:p14="http://schemas.microsoft.com/office/powerpoint/2010/main" val="2444212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656CF2C-8F31-DD30-09EE-6B075113BD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574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A3238CE-19E7-E911-1CA7-883A85CE77EF}"/>
              </a:ext>
            </a:extLst>
          </p:cNvPr>
          <p:cNvSpPr/>
          <p:nvPr/>
        </p:nvSpPr>
        <p:spPr>
          <a:xfrm>
            <a:off x="9471307" y="275"/>
            <a:ext cx="2489752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A95138B-7ED8-EE50-8444-F9686A2E634B}"/>
              </a:ext>
            </a:extLst>
          </p:cNvPr>
          <p:cNvGrpSpPr/>
          <p:nvPr/>
        </p:nvGrpSpPr>
        <p:grpSpPr>
          <a:xfrm>
            <a:off x="-12700" y="1089222"/>
            <a:ext cx="6163806" cy="4371777"/>
            <a:chOff x="0" y="1012002"/>
            <a:chExt cx="6474778" cy="4562098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C864F6E-93BC-1258-4071-7FEC76DBA86F}"/>
                </a:ext>
              </a:extLst>
            </p:cNvPr>
            <p:cNvSpPr txBox="1"/>
            <p:nvPr/>
          </p:nvSpPr>
          <p:spPr>
            <a:xfrm>
              <a:off x="669725" y="1012002"/>
              <a:ext cx="5805053" cy="3211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Global Winter CO Pollution Levels in </a:t>
              </a:r>
              <a:r>
                <a:rPr lang="el-GR" sz="1400" dirty="0"/>
                <a:t>μ</a:t>
              </a:r>
              <a:r>
                <a:rPr lang="en-US" sz="1400" dirty="0"/>
                <a:t>g/m by Popul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7035116-89D3-95A5-D16D-DDB231F203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1276139"/>
              <a:ext cx="6096000" cy="4297961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2765F0-0FA6-03A8-19BE-54D69C9F35B6}"/>
              </a:ext>
            </a:extLst>
          </p:cNvPr>
          <p:cNvGrpSpPr/>
          <p:nvPr/>
        </p:nvGrpSpPr>
        <p:grpSpPr>
          <a:xfrm>
            <a:off x="5834822" y="406400"/>
            <a:ext cx="6271953" cy="6223001"/>
            <a:chOff x="6063422" y="0"/>
            <a:chExt cx="6271953" cy="622300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A3917D8-5F62-02A4-B92B-CB3720DDF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29134" y="0"/>
              <a:ext cx="5662866" cy="3814845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4440987-114C-5090-D4B6-E9152D63BF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57785" y="4114930"/>
              <a:ext cx="2854802" cy="1959029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D42E7E96-E17D-7539-486F-4DEF5AD12B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50000" b="74955"/>
            <a:stretch/>
          </p:blipFill>
          <p:spPr>
            <a:xfrm>
              <a:off x="9154408" y="4114930"/>
              <a:ext cx="2926380" cy="1959029"/>
            </a:xfrm>
            <a:prstGeom prst="rect">
              <a:avLst/>
            </a:prstGeom>
          </p:spPr>
        </p:pic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6F40105-226A-ACC0-112A-45689236182E}"/>
                </a:ext>
              </a:extLst>
            </p:cNvPr>
            <p:cNvSpPr/>
            <p:nvPr/>
          </p:nvSpPr>
          <p:spPr>
            <a:xfrm>
              <a:off x="6063422" y="2235201"/>
              <a:ext cx="3111500" cy="3987800"/>
            </a:xfrm>
            <a:custGeom>
              <a:avLst/>
              <a:gdLst>
                <a:gd name="connsiteX0" fmla="*/ 976184 w 3052119"/>
                <a:gd name="connsiteY0" fmla="*/ 0 h 939113"/>
                <a:gd name="connsiteX1" fmla="*/ 0 w 3052119"/>
                <a:gd name="connsiteY1" fmla="*/ 914400 h 939113"/>
                <a:gd name="connsiteX2" fmla="*/ 3052119 w 3052119"/>
                <a:gd name="connsiteY2" fmla="*/ 939113 h 939113"/>
                <a:gd name="connsiteX3" fmla="*/ 1507524 w 3052119"/>
                <a:gd name="connsiteY3" fmla="*/ 0 h 939113"/>
                <a:gd name="connsiteX4" fmla="*/ 976184 w 3052119"/>
                <a:gd name="connsiteY4" fmla="*/ 0 h 939113"/>
                <a:gd name="connsiteX0" fmla="*/ 1001532 w 3077467"/>
                <a:gd name="connsiteY0" fmla="*/ 0 h 953553"/>
                <a:gd name="connsiteX1" fmla="*/ 0 w 3077467"/>
                <a:gd name="connsiteY1" fmla="*/ 953553 h 953553"/>
                <a:gd name="connsiteX2" fmla="*/ 3077467 w 3077467"/>
                <a:gd name="connsiteY2" fmla="*/ 939113 h 953553"/>
                <a:gd name="connsiteX3" fmla="*/ 1532872 w 3077467"/>
                <a:gd name="connsiteY3" fmla="*/ 0 h 953553"/>
                <a:gd name="connsiteX4" fmla="*/ 1001532 w 3077467"/>
                <a:gd name="connsiteY4" fmla="*/ 0 h 953553"/>
                <a:gd name="connsiteX0" fmla="*/ 1001532 w 3077467"/>
                <a:gd name="connsiteY0" fmla="*/ 0 h 953553"/>
                <a:gd name="connsiteX1" fmla="*/ 0 w 3077467"/>
                <a:gd name="connsiteY1" fmla="*/ 953553 h 953553"/>
                <a:gd name="connsiteX2" fmla="*/ 2247388 w 3077467"/>
                <a:gd name="connsiteY2" fmla="*/ 925203 h 953553"/>
                <a:gd name="connsiteX3" fmla="*/ 3077467 w 3077467"/>
                <a:gd name="connsiteY3" fmla="*/ 939113 h 953553"/>
                <a:gd name="connsiteX4" fmla="*/ 1532872 w 3077467"/>
                <a:gd name="connsiteY4" fmla="*/ 0 h 953553"/>
                <a:gd name="connsiteX5" fmla="*/ 1001532 w 3077467"/>
                <a:gd name="connsiteY5" fmla="*/ 0 h 953553"/>
                <a:gd name="connsiteX0" fmla="*/ 1001532 w 3077467"/>
                <a:gd name="connsiteY0" fmla="*/ 0 h 953553"/>
                <a:gd name="connsiteX1" fmla="*/ 0 w 3077467"/>
                <a:gd name="connsiteY1" fmla="*/ 953553 h 953553"/>
                <a:gd name="connsiteX2" fmla="*/ 384327 w 3077467"/>
                <a:gd name="connsiteY2" fmla="*/ 938254 h 953553"/>
                <a:gd name="connsiteX3" fmla="*/ 2247388 w 3077467"/>
                <a:gd name="connsiteY3" fmla="*/ 925203 h 953553"/>
                <a:gd name="connsiteX4" fmla="*/ 3077467 w 3077467"/>
                <a:gd name="connsiteY4" fmla="*/ 939113 h 953553"/>
                <a:gd name="connsiteX5" fmla="*/ 1532872 w 3077467"/>
                <a:gd name="connsiteY5" fmla="*/ 0 h 953553"/>
                <a:gd name="connsiteX6" fmla="*/ 1001532 w 3077467"/>
                <a:gd name="connsiteY6" fmla="*/ 0 h 953553"/>
                <a:gd name="connsiteX0" fmla="*/ 1001532 w 3096539"/>
                <a:gd name="connsiteY0" fmla="*/ 0 h 3300469"/>
                <a:gd name="connsiteX1" fmla="*/ 0 w 3096539"/>
                <a:gd name="connsiteY1" fmla="*/ 953553 h 3300469"/>
                <a:gd name="connsiteX2" fmla="*/ 384327 w 3096539"/>
                <a:gd name="connsiteY2" fmla="*/ 938254 h 3300469"/>
                <a:gd name="connsiteX3" fmla="*/ 3096539 w 3096539"/>
                <a:gd name="connsiteY3" fmla="*/ 3300469 h 3300469"/>
                <a:gd name="connsiteX4" fmla="*/ 3077467 w 3096539"/>
                <a:gd name="connsiteY4" fmla="*/ 939113 h 3300469"/>
                <a:gd name="connsiteX5" fmla="*/ 1532872 w 3096539"/>
                <a:gd name="connsiteY5" fmla="*/ 0 h 3300469"/>
                <a:gd name="connsiteX6" fmla="*/ 1001532 w 3096539"/>
                <a:gd name="connsiteY6" fmla="*/ 0 h 3300469"/>
                <a:gd name="connsiteX0" fmla="*/ 1001532 w 3096539"/>
                <a:gd name="connsiteY0" fmla="*/ 0 h 3300469"/>
                <a:gd name="connsiteX1" fmla="*/ 0 w 3096539"/>
                <a:gd name="connsiteY1" fmla="*/ 953553 h 3300469"/>
                <a:gd name="connsiteX2" fmla="*/ 168871 w 3096539"/>
                <a:gd name="connsiteY2" fmla="*/ 3104705 h 3300469"/>
                <a:gd name="connsiteX3" fmla="*/ 3096539 w 3096539"/>
                <a:gd name="connsiteY3" fmla="*/ 3300469 h 3300469"/>
                <a:gd name="connsiteX4" fmla="*/ 3077467 w 3096539"/>
                <a:gd name="connsiteY4" fmla="*/ 939113 h 3300469"/>
                <a:gd name="connsiteX5" fmla="*/ 1532872 w 3096539"/>
                <a:gd name="connsiteY5" fmla="*/ 0 h 3300469"/>
                <a:gd name="connsiteX6" fmla="*/ 1001532 w 3096539"/>
                <a:gd name="connsiteY6" fmla="*/ 0 h 3300469"/>
                <a:gd name="connsiteX0" fmla="*/ 1010095 w 3105102"/>
                <a:gd name="connsiteY0" fmla="*/ 0 h 3300469"/>
                <a:gd name="connsiteX1" fmla="*/ 8563 w 3105102"/>
                <a:gd name="connsiteY1" fmla="*/ 953553 h 3300469"/>
                <a:gd name="connsiteX2" fmla="*/ 0 w 3105102"/>
                <a:gd name="connsiteY2" fmla="*/ 3261316 h 3300469"/>
                <a:gd name="connsiteX3" fmla="*/ 3105102 w 3105102"/>
                <a:gd name="connsiteY3" fmla="*/ 3300469 h 3300469"/>
                <a:gd name="connsiteX4" fmla="*/ 3086030 w 3105102"/>
                <a:gd name="connsiteY4" fmla="*/ 939113 h 3300469"/>
                <a:gd name="connsiteX5" fmla="*/ 1541435 w 3105102"/>
                <a:gd name="connsiteY5" fmla="*/ 0 h 3300469"/>
                <a:gd name="connsiteX6" fmla="*/ 1010095 w 3105102"/>
                <a:gd name="connsiteY6" fmla="*/ 0 h 3300469"/>
                <a:gd name="connsiteX0" fmla="*/ 1010095 w 3105102"/>
                <a:gd name="connsiteY0" fmla="*/ 1412 h 3301881"/>
                <a:gd name="connsiteX1" fmla="*/ 8563 w 3105102"/>
                <a:gd name="connsiteY1" fmla="*/ 954965 h 3301881"/>
                <a:gd name="connsiteX2" fmla="*/ 0 w 3105102"/>
                <a:gd name="connsiteY2" fmla="*/ 3262728 h 3301881"/>
                <a:gd name="connsiteX3" fmla="*/ 3105102 w 3105102"/>
                <a:gd name="connsiteY3" fmla="*/ 3301881 h 3301881"/>
                <a:gd name="connsiteX4" fmla="*/ 3086030 w 3105102"/>
                <a:gd name="connsiteY4" fmla="*/ 940525 h 3301881"/>
                <a:gd name="connsiteX5" fmla="*/ 1541435 w 3105102"/>
                <a:gd name="connsiteY5" fmla="*/ 1412 h 3301881"/>
                <a:gd name="connsiteX6" fmla="*/ 1356106 w 3105102"/>
                <a:gd name="connsiteY6" fmla="*/ 0 h 3301881"/>
                <a:gd name="connsiteX7" fmla="*/ 1010095 w 3105102"/>
                <a:gd name="connsiteY7" fmla="*/ 1412 h 3301881"/>
                <a:gd name="connsiteX0" fmla="*/ 1010095 w 3105102"/>
                <a:gd name="connsiteY0" fmla="*/ 1412 h 3301881"/>
                <a:gd name="connsiteX1" fmla="*/ 8563 w 3105102"/>
                <a:gd name="connsiteY1" fmla="*/ 954965 h 3301881"/>
                <a:gd name="connsiteX2" fmla="*/ 0 w 3105102"/>
                <a:gd name="connsiteY2" fmla="*/ 3262728 h 3301881"/>
                <a:gd name="connsiteX3" fmla="*/ 3105102 w 3105102"/>
                <a:gd name="connsiteY3" fmla="*/ 3301881 h 3301881"/>
                <a:gd name="connsiteX4" fmla="*/ 3086030 w 3105102"/>
                <a:gd name="connsiteY4" fmla="*/ 940525 h 3301881"/>
                <a:gd name="connsiteX5" fmla="*/ 1541435 w 3105102"/>
                <a:gd name="connsiteY5" fmla="*/ 1412 h 3301881"/>
                <a:gd name="connsiteX6" fmla="*/ 1356106 w 3105102"/>
                <a:gd name="connsiteY6" fmla="*/ 0 h 3301881"/>
                <a:gd name="connsiteX7" fmla="*/ 1127976 w 3105102"/>
                <a:gd name="connsiteY7" fmla="*/ 0 h 3301881"/>
                <a:gd name="connsiteX8" fmla="*/ 1010095 w 3105102"/>
                <a:gd name="connsiteY8" fmla="*/ 1412 h 3301881"/>
                <a:gd name="connsiteX0" fmla="*/ 1010095 w 3105102"/>
                <a:gd name="connsiteY0" fmla="*/ 797518 h 4097987"/>
                <a:gd name="connsiteX1" fmla="*/ 8563 w 3105102"/>
                <a:gd name="connsiteY1" fmla="*/ 1751071 h 4097987"/>
                <a:gd name="connsiteX2" fmla="*/ 0 w 3105102"/>
                <a:gd name="connsiteY2" fmla="*/ 4058834 h 4097987"/>
                <a:gd name="connsiteX3" fmla="*/ 3105102 w 3105102"/>
                <a:gd name="connsiteY3" fmla="*/ 4097987 h 4097987"/>
                <a:gd name="connsiteX4" fmla="*/ 3086030 w 3105102"/>
                <a:gd name="connsiteY4" fmla="*/ 1736631 h 4097987"/>
                <a:gd name="connsiteX5" fmla="*/ 1541435 w 3105102"/>
                <a:gd name="connsiteY5" fmla="*/ 797518 h 4097987"/>
                <a:gd name="connsiteX6" fmla="*/ 1520866 w 3105102"/>
                <a:gd name="connsiteY6" fmla="*/ 0 h 4097987"/>
                <a:gd name="connsiteX7" fmla="*/ 1127976 w 3105102"/>
                <a:gd name="connsiteY7" fmla="*/ 796106 h 4097987"/>
                <a:gd name="connsiteX8" fmla="*/ 1010095 w 3105102"/>
                <a:gd name="connsiteY8" fmla="*/ 797518 h 4097987"/>
                <a:gd name="connsiteX0" fmla="*/ 1010095 w 3105102"/>
                <a:gd name="connsiteY0" fmla="*/ 797518 h 4097987"/>
                <a:gd name="connsiteX1" fmla="*/ 8563 w 3105102"/>
                <a:gd name="connsiteY1" fmla="*/ 1751071 h 4097987"/>
                <a:gd name="connsiteX2" fmla="*/ 0 w 3105102"/>
                <a:gd name="connsiteY2" fmla="*/ 4058834 h 4097987"/>
                <a:gd name="connsiteX3" fmla="*/ 3105102 w 3105102"/>
                <a:gd name="connsiteY3" fmla="*/ 4097987 h 4097987"/>
                <a:gd name="connsiteX4" fmla="*/ 3086030 w 3105102"/>
                <a:gd name="connsiteY4" fmla="*/ 1736631 h 4097987"/>
                <a:gd name="connsiteX5" fmla="*/ 1541435 w 3105102"/>
                <a:gd name="connsiteY5" fmla="*/ 797518 h 4097987"/>
                <a:gd name="connsiteX6" fmla="*/ 1520866 w 3105102"/>
                <a:gd name="connsiteY6" fmla="*/ 0 h 4097987"/>
                <a:gd name="connsiteX7" fmla="*/ 1026585 w 3105102"/>
                <a:gd name="connsiteY7" fmla="*/ 0 h 4097987"/>
                <a:gd name="connsiteX8" fmla="*/ 1010095 w 3105102"/>
                <a:gd name="connsiteY8" fmla="*/ 797518 h 4097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5102" h="4097987">
                  <a:moveTo>
                    <a:pt x="1010095" y="797518"/>
                  </a:moveTo>
                  <a:lnTo>
                    <a:pt x="8563" y="1751071"/>
                  </a:lnTo>
                  <a:cubicBezTo>
                    <a:pt x="5709" y="2520325"/>
                    <a:pt x="2854" y="3289580"/>
                    <a:pt x="0" y="4058834"/>
                  </a:cubicBezTo>
                  <a:lnTo>
                    <a:pt x="3105102" y="4097987"/>
                  </a:lnTo>
                  <a:lnTo>
                    <a:pt x="3086030" y="1736631"/>
                  </a:lnTo>
                  <a:lnTo>
                    <a:pt x="1541435" y="797518"/>
                  </a:lnTo>
                  <a:lnTo>
                    <a:pt x="1520866" y="0"/>
                  </a:lnTo>
                  <a:lnTo>
                    <a:pt x="1026585" y="0"/>
                  </a:lnTo>
                  <a:lnTo>
                    <a:pt x="1010095" y="79751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22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C6CD79E-60D6-EA28-6574-C14B25B3F04B}"/>
                </a:ext>
              </a:extLst>
            </p:cNvPr>
            <p:cNvSpPr/>
            <p:nvPr/>
          </p:nvSpPr>
          <p:spPr>
            <a:xfrm>
              <a:off x="9223875" y="266701"/>
              <a:ext cx="3111500" cy="5956300"/>
            </a:xfrm>
            <a:custGeom>
              <a:avLst/>
              <a:gdLst>
                <a:gd name="connsiteX0" fmla="*/ 976184 w 3052119"/>
                <a:gd name="connsiteY0" fmla="*/ 0 h 939113"/>
                <a:gd name="connsiteX1" fmla="*/ 0 w 3052119"/>
                <a:gd name="connsiteY1" fmla="*/ 914400 h 939113"/>
                <a:gd name="connsiteX2" fmla="*/ 3052119 w 3052119"/>
                <a:gd name="connsiteY2" fmla="*/ 939113 h 939113"/>
                <a:gd name="connsiteX3" fmla="*/ 1507524 w 3052119"/>
                <a:gd name="connsiteY3" fmla="*/ 0 h 939113"/>
                <a:gd name="connsiteX4" fmla="*/ 976184 w 3052119"/>
                <a:gd name="connsiteY4" fmla="*/ 0 h 939113"/>
                <a:gd name="connsiteX0" fmla="*/ 1001532 w 3077467"/>
                <a:gd name="connsiteY0" fmla="*/ 0 h 953553"/>
                <a:gd name="connsiteX1" fmla="*/ 0 w 3077467"/>
                <a:gd name="connsiteY1" fmla="*/ 953553 h 953553"/>
                <a:gd name="connsiteX2" fmla="*/ 3077467 w 3077467"/>
                <a:gd name="connsiteY2" fmla="*/ 939113 h 953553"/>
                <a:gd name="connsiteX3" fmla="*/ 1532872 w 3077467"/>
                <a:gd name="connsiteY3" fmla="*/ 0 h 953553"/>
                <a:gd name="connsiteX4" fmla="*/ 1001532 w 3077467"/>
                <a:gd name="connsiteY4" fmla="*/ 0 h 953553"/>
                <a:gd name="connsiteX0" fmla="*/ 1001532 w 3077467"/>
                <a:gd name="connsiteY0" fmla="*/ 0 h 953553"/>
                <a:gd name="connsiteX1" fmla="*/ 0 w 3077467"/>
                <a:gd name="connsiteY1" fmla="*/ 953553 h 953553"/>
                <a:gd name="connsiteX2" fmla="*/ 2247388 w 3077467"/>
                <a:gd name="connsiteY2" fmla="*/ 925203 h 953553"/>
                <a:gd name="connsiteX3" fmla="*/ 3077467 w 3077467"/>
                <a:gd name="connsiteY3" fmla="*/ 939113 h 953553"/>
                <a:gd name="connsiteX4" fmla="*/ 1532872 w 3077467"/>
                <a:gd name="connsiteY4" fmla="*/ 0 h 953553"/>
                <a:gd name="connsiteX5" fmla="*/ 1001532 w 3077467"/>
                <a:gd name="connsiteY5" fmla="*/ 0 h 953553"/>
                <a:gd name="connsiteX0" fmla="*/ 1001532 w 3077467"/>
                <a:gd name="connsiteY0" fmla="*/ 0 h 953553"/>
                <a:gd name="connsiteX1" fmla="*/ 0 w 3077467"/>
                <a:gd name="connsiteY1" fmla="*/ 953553 h 953553"/>
                <a:gd name="connsiteX2" fmla="*/ 384327 w 3077467"/>
                <a:gd name="connsiteY2" fmla="*/ 938254 h 953553"/>
                <a:gd name="connsiteX3" fmla="*/ 2247388 w 3077467"/>
                <a:gd name="connsiteY3" fmla="*/ 925203 h 953553"/>
                <a:gd name="connsiteX4" fmla="*/ 3077467 w 3077467"/>
                <a:gd name="connsiteY4" fmla="*/ 939113 h 953553"/>
                <a:gd name="connsiteX5" fmla="*/ 1532872 w 3077467"/>
                <a:gd name="connsiteY5" fmla="*/ 0 h 953553"/>
                <a:gd name="connsiteX6" fmla="*/ 1001532 w 3077467"/>
                <a:gd name="connsiteY6" fmla="*/ 0 h 953553"/>
                <a:gd name="connsiteX0" fmla="*/ 1001532 w 3096539"/>
                <a:gd name="connsiteY0" fmla="*/ 0 h 3300469"/>
                <a:gd name="connsiteX1" fmla="*/ 0 w 3096539"/>
                <a:gd name="connsiteY1" fmla="*/ 953553 h 3300469"/>
                <a:gd name="connsiteX2" fmla="*/ 384327 w 3096539"/>
                <a:gd name="connsiteY2" fmla="*/ 938254 h 3300469"/>
                <a:gd name="connsiteX3" fmla="*/ 3096539 w 3096539"/>
                <a:gd name="connsiteY3" fmla="*/ 3300469 h 3300469"/>
                <a:gd name="connsiteX4" fmla="*/ 3077467 w 3096539"/>
                <a:gd name="connsiteY4" fmla="*/ 939113 h 3300469"/>
                <a:gd name="connsiteX5" fmla="*/ 1532872 w 3096539"/>
                <a:gd name="connsiteY5" fmla="*/ 0 h 3300469"/>
                <a:gd name="connsiteX6" fmla="*/ 1001532 w 3096539"/>
                <a:gd name="connsiteY6" fmla="*/ 0 h 3300469"/>
                <a:gd name="connsiteX0" fmla="*/ 1001532 w 3096539"/>
                <a:gd name="connsiteY0" fmla="*/ 0 h 3300469"/>
                <a:gd name="connsiteX1" fmla="*/ 0 w 3096539"/>
                <a:gd name="connsiteY1" fmla="*/ 953553 h 3300469"/>
                <a:gd name="connsiteX2" fmla="*/ 168871 w 3096539"/>
                <a:gd name="connsiteY2" fmla="*/ 3104705 h 3300469"/>
                <a:gd name="connsiteX3" fmla="*/ 3096539 w 3096539"/>
                <a:gd name="connsiteY3" fmla="*/ 3300469 h 3300469"/>
                <a:gd name="connsiteX4" fmla="*/ 3077467 w 3096539"/>
                <a:gd name="connsiteY4" fmla="*/ 939113 h 3300469"/>
                <a:gd name="connsiteX5" fmla="*/ 1532872 w 3096539"/>
                <a:gd name="connsiteY5" fmla="*/ 0 h 3300469"/>
                <a:gd name="connsiteX6" fmla="*/ 1001532 w 3096539"/>
                <a:gd name="connsiteY6" fmla="*/ 0 h 3300469"/>
                <a:gd name="connsiteX0" fmla="*/ 1010095 w 3105102"/>
                <a:gd name="connsiteY0" fmla="*/ 0 h 3300469"/>
                <a:gd name="connsiteX1" fmla="*/ 8563 w 3105102"/>
                <a:gd name="connsiteY1" fmla="*/ 953553 h 3300469"/>
                <a:gd name="connsiteX2" fmla="*/ 0 w 3105102"/>
                <a:gd name="connsiteY2" fmla="*/ 3261316 h 3300469"/>
                <a:gd name="connsiteX3" fmla="*/ 3105102 w 3105102"/>
                <a:gd name="connsiteY3" fmla="*/ 3300469 h 3300469"/>
                <a:gd name="connsiteX4" fmla="*/ 3086030 w 3105102"/>
                <a:gd name="connsiteY4" fmla="*/ 939113 h 3300469"/>
                <a:gd name="connsiteX5" fmla="*/ 1541435 w 3105102"/>
                <a:gd name="connsiteY5" fmla="*/ 0 h 3300469"/>
                <a:gd name="connsiteX6" fmla="*/ 1010095 w 3105102"/>
                <a:gd name="connsiteY6" fmla="*/ 0 h 3300469"/>
                <a:gd name="connsiteX0" fmla="*/ 1010095 w 3105102"/>
                <a:gd name="connsiteY0" fmla="*/ 1412 h 3301881"/>
                <a:gd name="connsiteX1" fmla="*/ 8563 w 3105102"/>
                <a:gd name="connsiteY1" fmla="*/ 954965 h 3301881"/>
                <a:gd name="connsiteX2" fmla="*/ 0 w 3105102"/>
                <a:gd name="connsiteY2" fmla="*/ 3262728 h 3301881"/>
                <a:gd name="connsiteX3" fmla="*/ 3105102 w 3105102"/>
                <a:gd name="connsiteY3" fmla="*/ 3301881 h 3301881"/>
                <a:gd name="connsiteX4" fmla="*/ 3086030 w 3105102"/>
                <a:gd name="connsiteY4" fmla="*/ 940525 h 3301881"/>
                <a:gd name="connsiteX5" fmla="*/ 1541435 w 3105102"/>
                <a:gd name="connsiteY5" fmla="*/ 1412 h 3301881"/>
                <a:gd name="connsiteX6" fmla="*/ 1356106 w 3105102"/>
                <a:gd name="connsiteY6" fmla="*/ 0 h 3301881"/>
                <a:gd name="connsiteX7" fmla="*/ 1010095 w 3105102"/>
                <a:gd name="connsiteY7" fmla="*/ 1412 h 3301881"/>
                <a:gd name="connsiteX0" fmla="*/ 1010095 w 3105102"/>
                <a:gd name="connsiteY0" fmla="*/ 1412 h 3301881"/>
                <a:gd name="connsiteX1" fmla="*/ 8563 w 3105102"/>
                <a:gd name="connsiteY1" fmla="*/ 954965 h 3301881"/>
                <a:gd name="connsiteX2" fmla="*/ 0 w 3105102"/>
                <a:gd name="connsiteY2" fmla="*/ 3262728 h 3301881"/>
                <a:gd name="connsiteX3" fmla="*/ 3105102 w 3105102"/>
                <a:gd name="connsiteY3" fmla="*/ 3301881 h 3301881"/>
                <a:gd name="connsiteX4" fmla="*/ 3086030 w 3105102"/>
                <a:gd name="connsiteY4" fmla="*/ 940525 h 3301881"/>
                <a:gd name="connsiteX5" fmla="*/ 1541435 w 3105102"/>
                <a:gd name="connsiteY5" fmla="*/ 1412 h 3301881"/>
                <a:gd name="connsiteX6" fmla="*/ 1356106 w 3105102"/>
                <a:gd name="connsiteY6" fmla="*/ 0 h 3301881"/>
                <a:gd name="connsiteX7" fmla="*/ 1127976 w 3105102"/>
                <a:gd name="connsiteY7" fmla="*/ 0 h 3301881"/>
                <a:gd name="connsiteX8" fmla="*/ 1010095 w 3105102"/>
                <a:gd name="connsiteY8" fmla="*/ 1412 h 3301881"/>
                <a:gd name="connsiteX0" fmla="*/ 1010095 w 3105102"/>
                <a:gd name="connsiteY0" fmla="*/ 797518 h 4097987"/>
                <a:gd name="connsiteX1" fmla="*/ 8563 w 3105102"/>
                <a:gd name="connsiteY1" fmla="*/ 1751071 h 4097987"/>
                <a:gd name="connsiteX2" fmla="*/ 0 w 3105102"/>
                <a:gd name="connsiteY2" fmla="*/ 4058834 h 4097987"/>
                <a:gd name="connsiteX3" fmla="*/ 3105102 w 3105102"/>
                <a:gd name="connsiteY3" fmla="*/ 4097987 h 4097987"/>
                <a:gd name="connsiteX4" fmla="*/ 3086030 w 3105102"/>
                <a:gd name="connsiteY4" fmla="*/ 1736631 h 4097987"/>
                <a:gd name="connsiteX5" fmla="*/ 1541435 w 3105102"/>
                <a:gd name="connsiteY5" fmla="*/ 797518 h 4097987"/>
                <a:gd name="connsiteX6" fmla="*/ 1520866 w 3105102"/>
                <a:gd name="connsiteY6" fmla="*/ 0 h 4097987"/>
                <a:gd name="connsiteX7" fmla="*/ 1127976 w 3105102"/>
                <a:gd name="connsiteY7" fmla="*/ 796106 h 4097987"/>
                <a:gd name="connsiteX8" fmla="*/ 1010095 w 3105102"/>
                <a:gd name="connsiteY8" fmla="*/ 797518 h 4097987"/>
                <a:gd name="connsiteX0" fmla="*/ 1010095 w 3105102"/>
                <a:gd name="connsiteY0" fmla="*/ 797518 h 4097987"/>
                <a:gd name="connsiteX1" fmla="*/ 8563 w 3105102"/>
                <a:gd name="connsiteY1" fmla="*/ 1751071 h 4097987"/>
                <a:gd name="connsiteX2" fmla="*/ 0 w 3105102"/>
                <a:gd name="connsiteY2" fmla="*/ 4058834 h 4097987"/>
                <a:gd name="connsiteX3" fmla="*/ 3105102 w 3105102"/>
                <a:gd name="connsiteY3" fmla="*/ 4097987 h 4097987"/>
                <a:gd name="connsiteX4" fmla="*/ 3086030 w 3105102"/>
                <a:gd name="connsiteY4" fmla="*/ 1736631 h 4097987"/>
                <a:gd name="connsiteX5" fmla="*/ 1541435 w 3105102"/>
                <a:gd name="connsiteY5" fmla="*/ 797518 h 4097987"/>
                <a:gd name="connsiteX6" fmla="*/ 1520866 w 3105102"/>
                <a:gd name="connsiteY6" fmla="*/ 0 h 4097987"/>
                <a:gd name="connsiteX7" fmla="*/ 1026585 w 3105102"/>
                <a:gd name="connsiteY7" fmla="*/ 0 h 4097987"/>
                <a:gd name="connsiteX8" fmla="*/ 1010095 w 3105102"/>
                <a:gd name="connsiteY8" fmla="*/ 797518 h 4097987"/>
                <a:gd name="connsiteX0" fmla="*/ 1010095 w 3105102"/>
                <a:gd name="connsiteY0" fmla="*/ 797518 h 4097987"/>
                <a:gd name="connsiteX1" fmla="*/ 8563 w 3105102"/>
                <a:gd name="connsiteY1" fmla="*/ 1751071 h 4097987"/>
                <a:gd name="connsiteX2" fmla="*/ 0 w 3105102"/>
                <a:gd name="connsiteY2" fmla="*/ 4058834 h 4097987"/>
                <a:gd name="connsiteX3" fmla="*/ 3105102 w 3105102"/>
                <a:gd name="connsiteY3" fmla="*/ 4097987 h 4097987"/>
                <a:gd name="connsiteX4" fmla="*/ 3086030 w 3105102"/>
                <a:gd name="connsiteY4" fmla="*/ 1736631 h 4097987"/>
                <a:gd name="connsiteX5" fmla="*/ 2834171 w 3105102"/>
                <a:gd name="connsiteY5" fmla="*/ 158023 h 4097987"/>
                <a:gd name="connsiteX6" fmla="*/ 1520866 w 3105102"/>
                <a:gd name="connsiteY6" fmla="*/ 0 h 4097987"/>
                <a:gd name="connsiteX7" fmla="*/ 1026585 w 3105102"/>
                <a:gd name="connsiteY7" fmla="*/ 0 h 4097987"/>
                <a:gd name="connsiteX8" fmla="*/ 1010095 w 3105102"/>
                <a:gd name="connsiteY8" fmla="*/ 797518 h 4097987"/>
                <a:gd name="connsiteX0" fmla="*/ 1010095 w 3105102"/>
                <a:gd name="connsiteY0" fmla="*/ 2820410 h 6120879"/>
                <a:gd name="connsiteX1" fmla="*/ 8563 w 3105102"/>
                <a:gd name="connsiteY1" fmla="*/ 3773963 h 6120879"/>
                <a:gd name="connsiteX2" fmla="*/ 0 w 3105102"/>
                <a:gd name="connsiteY2" fmla="*/ 6081726 h 6120879"/>
                <a:gd name="connsiteX3" fmla="*/ 3105102 w 3105102"/>
                <a:gd name="connsiteY3" fmla="*/ 6120879 h 6120879"/>
                <a:gd name="connsiteX4" fmla="*/ 3086030 w 3105102"/>
                <a:gd name="connsiteY4" fmla="*/ 3759523 h 6120879"/>
                <a:gd name="connsiteX5" fmla="*/ 2834171 w 3105102"/>
                <a:gd name="connsiteY5" fmla="*/ 2180915 h 6120879"/>
                <a:gd name="connsiteX6" fmla="*/ 2813603 w 3105102"/>
                <a:gd name="connsiteY6" fmla="*/ 0 h 6120879"/>
                <a:gd name="connsiteX7" fmla="*/ 1026585 w 3105102"/>
                <a:gd name="connsiteY7" fmla="*/ 2022892 h 6120879"/>
                <a:gd name="connsiteX8" fmla="*/ 1010095 w 3105102"/>
                <a:gd name="connsiteY8" fmla="*/ 2820410 h 6120879"/>
                <a:gd name="connsiteX0" fmla="*/ 1010095 w 3105102"/>
                <a:gd name="connsiteY0" fmla="*/ 2820410 h 6120879"/>
                <a:gd name="connsiteX1" fmla="*/ 8563 w 3105102"/>
                <a:gd name="connsiteY1" fmla="*/ 3773963 h 6120879"/>
                <a:gd name="connsiteX2" fmla="*/ 0 w 3105102"/>
                <a:gd name="connsiteY2" fmla="*/ 6081726 h 6120879"/>
                <a:gd name="connsiteX3" fmla="*/ 3105102 w 3105102"/>
                <a:gd name="connsiteY3" fmla="*/ 6120879 h 6120879"/>
                <a:gd name="connsiteX4" fmla="*/ 3086030 w 3105102"/>
                <a:gd name="connsiteY4" fmla="*/ 3759523 h 6120879"/>
                <a:gd name="connsiteX5" fmla="*/ 2834171 w 3105102"/>
                <a:gd name="connsiteY5" fmla="*/ 2180915 h 6120879"/>
                <a:gd name="connsiteX6" fmla="*/ 2813603 w 3105102"/>
                <a:gd name="connsiteY6" fmla="*/ 0 h 6120879"/>
                <a:gd name="connsiteX7" fmla="*/ 2344669 w 3105102"/>
                <a:gd name="connsiteY7" fmla="*/ 13051 h 6120879"/>
                <a:gd name="connsiteX8" fmla="*/ 1010095 w 3105102"/>
                <a:gd name="connsiteY8" fmla="*/ 2820410 h 6120879"/>
                <a:gd name="connsiteX0" fmla="*/ 2340853 w 3105102"/>
                <a:gd name="connsiteY0" fmla="*/ 2180916 h 6120879"/>
                <a:gd name="connsiteX1" fmla="*/ 8563 w 3105102"/>
                <a:gd name="connsiteY1" fmla="*/ 3773963 h 6120879"/>
                <a:gd name="connsiteX2" fmla="*/ 0 w 3105102"/>
                <a:gd name="connsiteY2" fmla="*/ 6081726 h 6120879"/>
                <a:gd name="connsiteX3" fmla="*/ 3105102 w 3105102"/>
                <a:gd name="connsiteY3" fmla="*/ 6120879 h 6120879"/>
                <a:gd name="connsiteX4" fmla="*/ 3086030 w 3105102"/>
                <a:gd name="connsiteY4" fmla="*/ 3759523 h 6120879"/>
                <a:gd name="connsiteX5" fmla="*/ 2834171 w 3105102"/>
                <a:gd name="connsiteY5" fmla="*/ 2180915 h 6120879"/>
                <a:gd name="connsiteX6" fmla="*/ 2813603 w 3105102"/>
                <a:gd name="connsiteY6" fmla="*/ 0 h 6120879"/>
                <a:gd name="connsiteX7" fmla="*/ 2344669 w 3105102"/>
                <a:gd name="connsiteY7" fmla="*/ 13051 h 6120879"/>
                <a:gd name="connsiteX8" fmla="*/ 2340853 w 3105102"/>
                <a:gd name="connsiteY8" fmla="*/ 2180916 h 6120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5102" h="6120879">
                  <a:moveTo>
                    <a:pt x="2340853" y="2180916"/>
                  </a:moveTo>
                  <a:lnTo>
                    <a:pt x="8563" y="3773963"/>
                  </a:lnTo>
                  <a:cubicBezTo>
                    <a:pt x="5709" y="4543217"/>
                    <a:pt x="2854" y="5312472"/>
                    <a:pt x="0" y="6081726"/>
                  </a:cubicBezTo>
                  <a:lnTo>
                    <a:pt x="3105102" y="6120879"/>
                  </a:lnTo>
                  <a:lnTo>
                    <a:pt x="3086030" y="3759523"/>
                  </a:lnTo>
                  <a:lnTo>
                    <a:pt x="2834171" y="2180915"/>
                  </a:lnTo>
                  <a:lnTo>
                    <a:pt x="2813603" y="0"/>
                  </a:lnTo>
                  <a:lnTo>
                    <a:pt x="2344669" y="13051"/>
                  </a:lnTo>
                  <a:lnTo>
                    <a:pt x="2340853" y="21809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22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FEEDC085-318E-ACD3-78C9-94EB8695A2E7}"/>
              </a:ext>
            </a:extLst>
          </p:cNvPr>
          <p:cNvSpPr/>
          <p:nvPr/>
        </p:nvSpPr>
        <p:spPr>
          <a:xfrm>
            <a:off x="5778500" y="-12700"/>
            <a:ext cx="0" cy="6896100"/>
          </a:xfrm>
          <a:custGeom>
            <a:avLst/>
            <a:gdLst>
              <a:gd name="connsiteX0" fmla="*/ 0 w 0"/>
              <a:gd name="connsiteY0" fmla="*/ 0 h 6896100"/>
              <a:gd name="connsiteX1" fmla="*/ 0 w 0"/>
              <a:gd name="connsiteY1" fmla="*/ 6896100 h 689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896100">
                <a:moveTo>
                  <a:pt x="0" y="0"/>
                </a:moveTo>
                <a:lnTo>
                  <a:pt x="0" y="6896100"/>
                </a:lnTo>
              </a:path>
            </a:pathLst>
          </a:custGeom>
          <a:noFill/>
          <a:ln>
            <a:solidFill>
              <a:schemeClr val="accent6"/>
            </a:solidFill>
          </a:ln>
          <a:effectLst>
            <a:outerShdw blurRad="1524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B1F95B0-7813-1D95-3294-7CD3B04F2304}"/>
              </a:ext>
            </a:extLst>
          </p:cNvPr>
          <p:cNvSpPr txBox="1"/>
          <p:nvPr/>
        </p:nvSpPr>
        <p:spPr>
          <a:xfrm>
            <a:off x="3414007" y="6507202"/>
            <a:ext cx="23355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rgbClr val="C00000"/>
                </a:solidFill>
              </a:rPr>
              <a:t>*population size = bubble size</a:t>
            </a:r>
            <a:endParaRPr lang="en-US" sz="1400" i="1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EE98A63-331F-FEEF-B671-D0E8830A018D}"/>
              </a:ext>
            </a:extLst>
          </p:cNvPr>
          <p:cNvSpPr/>
          <p:nvPr/>
        </p:nvSpPr>
        <p:spPr>
          <a:xfrm>
            <a:off x="5778500" y="0"/>
            <a:ext cx="6413500" cy="6858000"/>
          </a:xfrm>
          <a:prstGeom prst="rect">
            <a:avLst/>
          </a:prstGeom>
          <a:solidFill>
            <a:schemeClr val="tx2">
              <a:lumMod val="20000"/>
              <a:lumOff val="80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6375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8194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yMjh9"/>
  <p:tag name="SLIDO_TYPE" val="SlidoPoll"/>
  <p:tag name="SLIDO_POLL_UUID" val="0eecd4f2-46a7-49ea-9638-ab35b4ddd43c"/>
  <p:tag name="SLIDO_TIMELINE" val="W3sicG9sbFF1ZXN0aW9uVXVpZCI6ImVhOTg4YjI1LWYzY2MtNDlkNS04MDVhLTkyMDViMWIzZDEyMC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570</TotalTime>
  <Words>352</Words>
  <Application>Microsoft Office PowerPoint</Application>
  <PresentationFormat>Widescreen</PresentationFormat>
  <Paragraphs>69</Paragraphs>
  <Slides>1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Ware, Wendy</cp:lastModifiedBy>
  <cp:revision>16</cp:revision>
  <dcterms:created xsi:type="dcterms:W3CDTF">2024-05-04T04:26:45Z</dcterms:created>
  <dcterms:modified xsi:type="dcterms:W3CDTF">2024-05-05T12:2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